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6" d="100"/>
          <a:sy n="86" d="100"/>
        </p:scale>
        <p:origin x="51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insideSherpa internship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Deloitte- Introduction to TSA-Cloud 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26542" y="1129211"/>
            <a:ext cx="4536000" cy="499712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</a:rPr>
              <a:t>Defining Cloud Computing:</a:t>
            </a:r>
          </a:p>
          <a:p>
            <a:pPr marL="285750" lvl="0" indent="-285750" algn="just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Cloud computing is the on-demand delivery of IT resources over the Internet with pay-as-you-go pricing. Instead of buying, owning, and maintaining physical data centers and servers, you can access technology services, such as computing power, storage, and databases, on an as-needed basis from a cloud .</a:t>
            </a:r>
          </a:p>
          <a:p>
            <a:pPr marL="285750" lvl="0" indent="-285750" algn="just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Some company provide cloud computing server:</a:t>
            </a:r>
            <a:r>
              <a:rPr lang="en-US" sz="1600" kern="0" dirty="0"/>
              <a:t>	</a:t>
            </a:r>
          </a:p>
          <a:p>
            <a:pPr marL="800100" lvl="1" indent="-342900"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600" kern="0" dirty="0"/>
              <a:t>Amazon Web Services (AWS)</a:t>
            </a:r>
          </a:p>
          <a:p>
            <a:pPr marL="800100" lvl="1" indent="-342900"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600" kern="0" dirty="0"/>
              <a:t>Google Cloud Platform</a:t>
            </a:r>
          </a:p>
          <a:p>
            <a:pPr marL="800100" lvl="1" indent="-342900"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600" kern="0" dirty="0"/>
              <a:t>Microsoft Azure</a:t>
            </a:r>
          </a:p>
          <a:p>
            <a:pPr marL="800100" lvl="1" indent="-342900" algn="just" fontAlgn="base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1600" kern="0" dirty="0"/>
              <a:t>IBM</a:t>
            </a:r>
          </a:p>
        </p:txBody>
      </p:sp>
      <p:sp>
        <p:nvSpPr>
          <p:cNvPr id="59" name="object 23"/>
          <p:cNvSpPr txBox="1"/>
          <p:nvPr/>
        </p:nvSpPr>
        <p:spPr>
          <a:xfrm>
            <a:off x="6521856" y="1129211"/>
            <a:ext cx="5244685" cy="609641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1600" b="1" spc="-25" dirty="0">
                <a:solidFill>
                  <a:srgbClr val="86BC25"/>
                </a:solidFill>
                <a:cs typeface="Verdana"/>
              </a:rPr>
              <a:t>Cloud Characteristics: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IN" dirty="0"/>
              <a:t>On-demand self-service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IN" dirty="0"/>
              <a:t>Broad network access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IN" dirty="0"/>
              <a:t>Resource pooling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IN" dirty="0"/>
              <a:t>Rapid elasticity</a:t>
            </a:r>
          </a:p>
          <a:p>
            <a:pPr marL="355600" marR="5080" indent="-342900" algn="just">
              <a:lnSpc>
                <a:spcPct val="130000"/>
              </a:lnSpc>
              <a:spcBef>
                <a:spcPts val="359"/>
              </a:spcBef>
              <a:buFont typeface="+mj-lt"/>
              <a:buAutoNum type="arabicPeriod"/>
            </a:pPr>
            <a:r>
              <a:rPr lang="en-IN" dirty="0"/>
              <a:t>Measured service</a:t>
            </a: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endParaRPr lang="en-US" sz="1600" spc="-25" dirty="0">
              <a:solidFill>
                <a:srgbClr val="86BC25"/>
              </a:solidFill>
              <a:cs typeface="Verdana"/>
            </a:endParaRP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1600" b="1" dirty="0">
                <a:solidFill>
                  <a:schemeClr val="accent1"/>
                </a:solidFill>
              </a:rPr>
              <a:t>Capabilities offered by Cloud Computing</a:t>
            </a: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1600" dirty="0"/>
              <a:t>Considering the advantages and domains of </a:t>
            </a:r>
            <a:r>
              <a:rPr lang="en-US" sz="1600" b="1" dirty="0"/>
              <a:t>cloud computing</a:t>
            </a:r>
            <a:r>
              <a:rPr lang="en-US" sz="1600" dirty="0"/>
              <a:t>, such as cost, security and confidentiality, scalability, mutual performance and interoperability, implementation platform and independence, search ability and exploration, reducing errors and improving the quality, structure, flexibility and sharing</a:t>
            </a:r>
            <a:endParaRPr lang="en-IN" sz="1600" dirty="0"/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endParaRPr lang="en-US" sz="1600" spc="-25" dirty="0">
              <a:solidFill>
                <a:srgbClr val="86BC25"/>
              </a:solidFill>
              <a:cs typeface="Verdana"/>
            </a:endParaRP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endParaRPr lang="en-US" sz="1400" b="1" spc="-25" dirty="0">
              <a:solidFill>
                <a:srgbClr val="86BC25"/>
              </a:solidFill>
              <a:cs typeface="Verdana"/>
            </a:endParaRP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AU" sz="1400" spc="-25" dirty="0">
                <a:solidFill>
                  <a:srgbClr val="000000"/>
                </a:solidFill>
                <a:cs typeface="Verdana"/>
              </a:rPr>
              <a:t>…</a:t>
            </a:r>
            <a:endParaRPr lang="en-US" sz="1400" spc="-25" dirty="0">
              <a:solidFill>
                <a:srgbClr val="000000"/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</TotalTime>
  <Words>150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Open Sans</vt:lpstr>
      <vt:lpstr>Verdana</vt:lpstr>
      <vt:lpstr>Deloitte_4_3_Onscreen</vt:lpstr>
      <vt:lpstr>think-cell Slide</vt:lpstr>
      <vt:lpstr>Deloitte- Introduction to TSA-Cloud 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Minal Chaudhari</cp:lastModifiedBy>
  <cp:revision>11</cp:revision>
  <dcterms:created xsi:type="dcterms:W3CDTF">2019-03-31T19:26:34Z</dcterms:created>
  <dcterms:modified xsi:type="dcterms:W3CDTF">2020-06-04T04:58:12Z</dcterms:modified>
</cp:coreProperties>
</file>